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7" r:id="rId1"/>
    <p:sldMasterId id="2147483661" r:id="rId2"/>
    <p:sldMasterId id="2147483669" r:id="rId3"/>
  </p:sldMasterIdLst>
  <p:notesMasterIdLst>
    <p:notesMasterId r:id="rId18"/>
  </p:notesMasterIdLst>
  <p:sldIdLst>
    <p:sldId id="319" r:id="rId4"/>
    <p:sldId id="320" r:id="rId5"/>
    <p:sldId id="321" r:id="rId6"/>
    <p:sldId id="322" r:id="rId7"/>
    <p:sldId id="323" r:id="rId8"/>
    <p:sldId id="324" r:id="rId9"/>
    <p:sldId id="325" r:id="rId10"/>
    <p:sldId id="326" r:id="rId11"/>
    <p:sldId id="327" r:id="rId12"/>
    <p:sldId id="328" r:id="rId13"/>
    <p:sldId id="329" r:id="rId14"/>
    <p:sldId id="330" r:id="rId15"/>
    <p:sldId id="331" r:id="rId16"/>
    <p:sldId id="332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5B5B"/>
    <a:srgbClr val="FF7C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119" autoAdjust="0"/>
    <p:restoredTop sz="94262" autoAdjust="0"/>
  </p:normalViewPr>
  <p:slideViewPr>
    <p:cSldViewPr snapToGrid="0">
      <p:cViewPr varScale="1">
        <p:scale>
          <a:sx n="102" d="100"/>
          <a:sy n="102" d="100"/>
        </p:scale>
        <p:origin x="150" y="52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microsoft.com/office/2015/10/relationships/revisionInfo" Target="revisionInfo.xml"/><Relationship Id="rId10" Type="http://schemas.openxmlformats.org/officeDocument/2006/relationships/slide" Target="slides/slide7.xml"/><Relationship Id="rId19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FA9BB5-EFC7-4AF2-996F-EF0994C862E8}" type="datetimeFigureOut">
              <a:rPr lang="en-US" smtClean="0"/>
              <a:t>3/19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F3D1E6-D1E8-4D81-BBA9-FA864456E8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18989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274320" indent="-27432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13585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274320" indent="-27432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98044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274320" indent="-27432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34357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274320" indent="-27432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66752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274320" indent="-27432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59849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274320" indent="-27432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9859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274320" indent="-27432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56966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274320" indent="-27432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01170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274320" indent="-27432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4999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274320" indent="-27432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24721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4562762"/>
            <a:ext cx="10363200" cy="931134"/>
          </a:xfrm>
        </p:spPr>
        <p:txBody>
          <a:bodyPr/>
          <a:lstStyle>
            <a:lvl1pPr algn="ctr">
              <a:defRPr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0" y="5514111"/>
            <a:ext cx="12192000" cy="424871"/>
          </a:xfrm>
        </p:spPr>
        <p:txBody>
          <a:bodyPr>
            <a:no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5EBCFF-FBEE-4AAD-827A-F53A2AB3BB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544513"/>
            <a:ext cx="12192000" cy="3981450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9" name="Picture 4"/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6008" y="6056636"/>
            <a:ext cx="3792683" cy="544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535085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-2264"/>
            <a:ext cx="10972800" cy="775262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923544"/>
            <a:ext cx="5384800" cy="4373563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923544"/>
            <a:ext cx="5384800" cy="4373563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55EBCFF-FBEE-4AAD-827A-F53A2AB3BB2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01381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55EBCFF-FBEE-4AAD-827A-F53A2AB3BB2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61712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>
            <a:extLst>
              <a:ext uri="{FF2B5EF4-FFF2-40B4-BE49-F238E27FC236}">
                <a16:creationId xmlns:a16="http://schemas.microsoft.com/office/drawing/2014/main" id="{577ED578-2A1C-403F-91AC-370D0EDEC74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544513"/>
            <a:ext cx="12192000" cy="39814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FA86161-5569-4914-8AA5-B370B06593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4562762"/>
            <a:ext cx="10363200" cy="931134"/>
          </a:xfrm>
          <a:prstGeom prst="rect">
            <a:avLst/>
          </a:prstGeom>
        </p:spPr>
        <p:txBody>
          <a:bodyPr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DB6A401E-34D0-477B-8EB4-2CDAB1957DF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5514111"/>
            <a:ext cx="12192000" cy="42487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2A3D2C63-C3FA-4C03-B40D-186343E4639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6C5BCB6A-729B-4D12-8D1F-5088D9816F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55EBCFF-FBEE-4AAD-827A-F53A2AB3BB2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F5CCE10-A08F-48BB-850A-6A3ECD9D01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954"/>
          <a:stretch/>
        </p:blipFill>
        <p:spPr>
          <a:xfrm>
            <a:off x="4590621" y="6214100"/>
            <a:ext cx="3351095" cy="490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457163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2"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595959"/>
                </a:solidFill>
              </a:defRPr>
            </a:lvl1pPr>
            <a:lvl2pPr marL="914400" indent="-457200">
              <a:buFont typeface="Arial" panose="020B0604020202020204" pitchFamily="34" charset="0"/>
              <a:buChar char="•"/>
              <a:defRPr>
                <a:solidFill>
                  <a:srgbClr val="595959"/>
                </a:solidFill>
              </a:defRPr>
            </a:lvl2pPr>
            <a:lvl3pPr marL="1257300" indent="-342900">
              <a:buFont typeface="Arial" panose="020B0604020202020204" pitchFamily="34" charset="0"/>
              <a:buChar char="•"/>
              <a:defRPr>
                <a:solidFill>
                  <a:srgbClr val="595959"/>
                </a:solidFill>
              </a:defRPr>
            </a:lvl3pPr>
            <a:lvl4pPr marL="1714500" indent="-342900">
              <a:buFont typeface="Arial" panose="020B0604020202020204" pitchFamily="34" charset="0"/>
              <a:buChar char="•"/>
              <a:defRPr>
                <a:solidFill>
                  <a:srgbClr val="595959"/>
                </a:solidFill>
              </a:defRPr>
            </a:lvl4pPr>
            <a:lvl5pPr marL="2171700" indent="-342900">
              <a:buFont typeface="Arial" panose="020B0604020202020204" pitchFamily="34" charset="0"/>
              <a:buChar char="•"/>
              <a:defRPr>
                <a:solidFill>
                  <a:srgbClr val="595959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9600" y="0"/>
            <a:ext cx="10515600" cy="508000"/>
          </a:xfrm>
          <a:prstGeom prst="rect">
            <a:avLst/>
          </a:prstGeom>
        </p:spPr>
        <p:txBody>
          <a:bodyPr/>
          <a:lstStyle>
            <a:lvl1pPr algn="l">
              <a:defRPr sz="3600">
                <a:solidFill>
                  <a:srgbClr val="595959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642287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>
            <a:lvl1pPr algn="ctr">
              <a:defRPr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5EBCFF-FBEE-4AAD-827A-F53A2AB3BB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24223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923544"/>
            <a:ext cx="10972800" cy="4724400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</p:spPr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</p:spPr>
        <p:txBody>
          <a:bodyPr/>
          <a:lstStyle/>
          <a:p>
            <a:fld id="{255EBCFF-FBEE-4AAD-827A-F53A2AB3BB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26601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-2264"/>
            <a:ext cx="10972800" cy="775262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923544"/>
            <a:ext cx="5384800" cy="4373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923544"/>
            <a:ext cx="5384800" cy="4373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5EBCFF-FBEE-4AAD-827A-F53A2AB3BB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27064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5EBCFF-FBEE-4AAD-827A-F53A2AB3BB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07159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923544"/>
            <a:ext cx="6815667" cy="536416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923544"/>
            <a:ext cx="4011084" cy="536416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5EBCFF-FBEE-4AAD-827A-F53A2AB3BB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09600" y="0"/>
            <a:ext cx="10972800" cy="762000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564869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4562762"/>
            <a:ext cx="10363200" cy="931134"/>
          </a:xfrm>
        </p:spPr>
        <p:txBody>
          <a:bodyPr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0" y="5514111"/>
            <a:ext cx="12192000" cy="424871"/>
          </a:xfrm>
        </p:spPr>
        <p:txBody>
          <a:bodyPr>
            <a:no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55EBCFF-FBEE-4AAD-827A-F53A2AB3BB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544513"/>
            <a:ext cx="12192000" cy="39814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55242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55EBCFF-FBEE-4AAD-827A-F53A2AB3BB2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05853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B343EE5-FF43-483B-A080-F437419BA9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8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B343EE5-FF43-483B-A080-F437419BA9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923544"/>
            <a:ext cx="10972800" cy="4724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55EBCFF-FBEE-4AAD-827A-F53A2AB3BB2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31726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.vml"/><Relationship Id="rId3" Type="http://schemas.openxmlformats.org/officeDocument/2006/relationships/slideLayout" Target="../slideLayouts/slideLayout10.xml"/><Relationship Id="rId7" Type="http://schemas.openxmlformats.org/officeDocument/2006/relationships/theme" Target="../theme/theme3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2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1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4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685800"/>
            <a:ext cx="109728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72800" cy="4724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55EBCFF-FBEE-4AAD-827A-F53A2AB3BB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520994"/>
            <a:ext cx="121920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 userDrawn="1"/>
        </p:nvSpPr>
        <p:spPr>
          <a:xfrm>
            <a:off x="9524841" y="285079"/>
            <a:ext cx="3110147" cy="276999"/>
          </a:xfrm>
          <a:prstGeom prst="rect">
            <a:avLst/>
          </a:prstGeom>
          <a:noFill/>
        </p:spPr>
        <p:txBody>
          <a:bodyPr wrap="none" rtlCol="0" anchor="b">
            <a:spAutoFit/>
          </a:bodyPr>
          <a:lstStyle/>
          <a:p>
            <a:r>
              <a:rPr lang="en-US" sz="1200" b="1" i="1" dirty="0">
                <a:solidFill>
                  <a:srgbClr val="FAA819"/>
                </a:solidFill>
                <a:latin typeface="Kartika" panose="02020503030404060203" pitchFamily="18" charset="0"/>
                <a:cs typeface="Kartika" panose="02020503030404060203" pitchFamily="18" charset="0"/>
              </a:rPr>
              <a:t>All the Cars in the World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212771" y="33865"/>
            <a:ext cx="2970695" cy="420160"/>
            <a:chOff x="184979" y="67733"/>
            <a:chExt cx="2228021" cy="420160"/>
          </a:xfrm>
        </p:grpSpPr>
        <p:sp>
          <p:nvSpPr>
            <p:cNvPr id="13" name="Rectangle 12"/>
            <p:cNvSpPr/>
            <p:nvPr/>
          </p:nvSpPr>
          <p:spPr>
            <a:xfrm>
              <a:off x="184979" y="67733"/>
              <a:ext cx="2228021" cy="42016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pic>
          <p:nvPicPr>
            <p:cNvPr id="14" name="Picture 13"/>
            <p:cNvPicPr>
              <a:picLocks noChangeAspect="1"/>
            </p:cNvPicPr>
            <p:nvPr/>
          </p:nvPicPr>
          <p:blipFill rotWithShape="1">
            <a:blip r:embed="rId7"/>
            <a:srcRect l="7690" t="18358" r="1735" b="21611"/>
            <a:stretch/>
          </p:blipFill>
          <p:spPr>
            <a:xfrm>
              <a:off x="229764" y="171146"/>
              <a:ext cx="1716763" cy="31674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261019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4400" b="0" kern="1200">
          <a:solidFill>
            <a:schemeClr val="tx1">
              <a:lumMod val="65000"/>
              <a:lumOff val="35000"/>
            </a:schemeClr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4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0"/>
            <a:ext cx="109728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923544"/>
            <a:ext cx="10972800" cy="4724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55EBCFF-FBEE-4AAD-827A-F53A2AB3BB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774482"/>
            <a:ext cx="121920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/>
          <p:cNvGrpSpPr/>
          <p:nvPr userDrawn="1"/>
        </p:nvGrpSpPr>
        <p:grpSpPr>
          <a:xfrm>
            <a:off x="609600" y="6301316"/>
            <a:ext cx="2970695" cy="420160"/>
            <a:chOff x="184979" y="67733"/>
            <a:chExt cx="2228021" cy="420160"/>
          </a:xfrm>
        </p:grpSpPr>
        <p:sp>
          <p:nvSpPr>
            <p:cNvPr id="13" name="Rectangle 12"/>
            <p:cNvSpPr/>
            <p:nvPr/>
          </p:nvSpPr>
          <p:spPr>
            <a:xfrm>
              <a:off x="184979" y="67733"/>
              <a:ext cx="2228021" cy="42016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pic>
          <p:nvPicPr>
            <p:cNvPr id="14" name="Picture 13"/>
            <p:cNvPicPr>
              <a:picLocks noChangeAspect="1"/>
            </p:cNvPicPr>
            <p:nvPr/>
          </p:nvPicPr>
          <p:blipFill rotWithShape="1">
            <a:blip r:embed="rId12"/>
            <a:srcRect l="7690" t="18358" r="1735" b="21611"/>
            <a:stretch/>
          </p:blipFill>
          <p:spPr>
            <a:xfrm>
              <a:off x="229764" y="171146"/>
              <a:ext cx="1716763" cy="31674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369686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76" r:id="rId6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4400" b="0" kern="1200">
          <a:solidFill>
            <a:schemeClr val="tx1">
              <a:lumMod val="65000"/>
              <a:lumOff val="35000"/>
            </a:schemeClr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2055813" indent="-227013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4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3"/>
          <p:cNvSpPr txBox="1">
            <a:spLocks/>
          </p:cNvSpPr>
          <p:nvPr userDrawn="1"/>
        </p:nvSpPr>
        <p:spPr>
          <a:xfrm>
            <a:off x="609600" y="17992"/>
            <a:ext cx="9101667" cy="49847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3600" kern="1200">
                <a:solidFill>
                  <a:srgbClr val="595959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7CCF2E2-76FE-441E-9E44-3766A5CAA9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954"/>
          <a:stretch/>
        </p:blipFill>
        <p:spPr>
          <a:xfrm>
            <a:off x="10164791" y="262021"/>
            <a:ext cx="1840946" cy="269427"/>
          </a:xfrm>
          <a:prstGeom prst="rect">
            <a:avLst/>
          </a:prstGeom>
        </p:spPr>
      </p:pic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457F3D5C-9FE7-4351-B01C-A51843B028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0"/>
            <a:ext cx="9431867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242D29C5-34FF-4907-B1E5-FAF6482DF1B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923544"/>
            <a:ext cx="10972800" cy="4724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- 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- 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endParaRPr lang="en-US" dirty="0"/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D0E2B421-616A-41E3-9220-6D4B463AA58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7EB60CAC-EEC1-4281-B271-C46CA47683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C7920A7C-89CD-40BC-BB08-EBCD226684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255EBCFF-FBEE-4AAD-827A-F53A2AB3BB2C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5006AA7-2AD2-4E4E-A91E-E7163523634C}"/>
              </a:ext>
            </a:extLst>
          </p:cNvPr>
          <p:cNvCxnSpPr/>
          <p:nvPr userDrawn="1"/>
        </p:nvCxnSpPr>
        <p:spPr>
          <a:xfrm>
            <a:off x="0" y="774482"/>
            <a:ext cx="121920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2729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spcBef>
          <a:spcPct val="200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573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spcBef>
          <a:spcPct val="20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1717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pmjs.com/package/alexa-sdk#getting-started-writing-a-hello-world-skill" TargetMode="External"/><Relationship Id="rId2" Type="http://schemas.openxmlformats.org/officeDocument/2006/relationships/hyperlink" Target="https://www.npmjs.com/package/alexa-sdk" TargetMode="Externa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bpR7xzr7ipM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developer.amazon.com/public/solutions/alexa/alexa-skills-kit/content/fact-skill-1" TargetMode="External"/><Relationship Id="rId2" Type="http://schemas.openxmlformats.org/officeDocument/2006/relationships/hyperlink" Target="https://developer.amazon.com/alexa-skills-kit" TargetMode="Externa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github.com/amzn/alexa-skills-kit-java" TargetMode="External"/><Relationship Id="rId5" Type="http://schemas.openxmlformats.org/officeDocument/2006/relationships/hyperlink" Target="https://github.com/amzn/alexa-skills-kit-js" TargetMode="External"/><Relationship Id="rId4" Type="http://schemas.openxmlformats.org/officeDocument/2006/relationships/hyperlink" Target="https://www.dashbot.io/docs/alexa/lambda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developer.amazon.com/public/solutions/alexa/alexa-skills-kit/docs/built-in-intent-ref/slot-type-reference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developer.amazon.com/docs/custom-skills/speech-synthesis-markup-language-ssml-reference.html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5" Type="http://schemas.openxmlformats.org/officeDocument/2006/relationships/hyperlink" Target="http://www.audacityteam.org/" TargetMode="External"/><Relationship Id="rId4" Type="http://schemas.openxmlformats.org/officeDocument/2006/relationships/hyperlink" Target="https://developer.amazon.com/docs/custom-skills/ask-soundlibrary.html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274CEB-5A66-4196-940C-7084BAD5ABE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2422878"/>
            <a:ext cx="10363200" cy="931134"/>
          </a:xfrm>
        </p:spPr>
        <p:txBody>
          <a:bodyPr/>
          <a:lstStyle/>
          <a:p>
            <a:r>
              <a:rPr lang="en-US" dirty="0"/>
              <a:t>Coding with Alexa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3FDFF3D-568B-447F-8964-D99A55BE464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291553"/>
            <a:ext cx="12192000" cy="424871"/>
          </a:xfrm>
        </p:spPr>
        <p:txBody>
          <a:bodyPr/>
          <a:lstStyle/>
          <a:p>
            <a:r>
              <a:rPr lang="en-US" dirty="0"/>
              <a:t>Garrett Vargas</a:t>
            </a:r>
          </a:p>
          <a:p>
            <a:r>
              <a:rPr lang="en-US" dirty="0"/>
              <a:t>CTO and VP of Technology, CarRentals.co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98EB75-A0C3-44D4-A620-A8E474245A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5EBCFF-FBEE-4AAD-827A-F53A2AB3BB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80844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03BFA51-FC2A-4081-BA22-256CC3C662A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NPM module that simplifies skill development - </a:t>
            </a:r>
            <a:r>
              <a:rPr lang="en-US" dirty="0">
                <a:hlinkClick r:id="rId2"/>
              </a:rPr>
              <a:t>https://www.npmjs.com/package/alexa-sdk</a:t>
            </a:r>
            <a:r>
              <a:rPr lang="en-US" dirty="0"/>
              <a:t> </a:t>
            </a:r>
          </a:p>
          <a:p>
            <a:endParaRPr lang="en-US" dirty="0"/>
          </a:p>
          <a:p>
            <a:r>
              <a:rPr lang="en-US" dirty="0"/>
              <a:t>Supports states, persisting attributes to DynamoDB, multi-language support, video directives for Echo Show, and more!</a:t>
            </a:r>
          </a:p>
          <a:p>
            <a:endParaRPr lang="en-US" dirty="0"/>
          </a:p>
          <a:p>
            <a:r>
              <a:rPr lang="en-US" dirty="0"/>
              <a:t>Sample of Hello World from scratch at </a:t>
            </a:r>
            <a:r>
              <a:rPr lang="en-US" dirty="0">
                <a:hlinkClick r:id="rId3"/>
              </a:rPr>
              <a:t>https://www.npmjs.com/package/alexa-sdk#getting-started-writing-a-hello-world-skill</a:t>
            </a:r>
            <a:r>
              <a:rPr lang="en-US" dirty="0"/>
              <a:t>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F312FE-3E4E-4C43-B754-429F0A6472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exa SDK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8A8F7D-FDA6-4EAE-BA2E-3857D9B58A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5EBCFF-FBEE-4AAD-827A-F53A2AB3BB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57611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5C71751-8F9D-46C9-AEB8-FE0B0B228A0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49053CA-6ACF-4A88-9C8C-852FBF5543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alytics with Dashbo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1804031-C707-4264-B0CA-4393F0D58F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7049" y="906373"/>
            <a:ext cx="4516476" cy="29464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02AAC54-0AA4-4287-B37E-23BC8C703E1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7049" y="3997146"/>
            <a:ext cx="4214071" cy="235920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4F6CF9A-8A78-46E1-BEC8-9D732E1B3AB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34258" y="1773059"/>
            <a:ext cx="5527270" cy="3857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6002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5C71751-8F9D-46C9-AEB8-FE0B0B228A0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pic>
        <p:nvPicPr>
          <p:cNvPr id="2050" name="Picture 2" descr="https://i.ytimg.com/vi/bpR7xzr7ipM/hqdefault.jpg?custom=true&amp;w=246&amp;h=138&amp;stc=true&amp;jpg444=true&amp;jpgq=90&amp;sp=68&amp;sigh=S9ozTdrDbxpWF4VbqTgF2RlWyjQ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2543" y="1997950"/>
            <a:ext cx="4957212" cy="2780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82B89B8A-EEC1-434E-AD2A-5F34DF3BFB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rand Expedia Alexa Skill</a:t>
            </a:r>
          </a:p>
        </p:txBody>
      </p:sp>
    </p:spTree>
    <p:extLst>
      <p:ext uri="{BB962C8B-B14F-4D97-AF65-F5344CB8AC3E}">
        <p14:creationId xmlns:p14="http://schemas.microsoft.com/office/powerpoint/2010/main" val="345029539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5497" y="881366"/>
            <a:ext cx="3491245" cy="5840110"/>
          </a:xfrm>
          <a:prstGeom prst="rect">
            <a:avLst/>
          </a:prstGeom>
        </p:spPr>
      </p:pic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5C71751-8F9D-46C9-AEB8-FE0B0B228A0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985D242-E57E-4AAE-AEC9-D9A6E998A3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oice User Interface (VUI)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CADAABB-BDF5-4A76-9D3E-3615EFA08DE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6742" y="1918117"/>
            <a:ext cx="5464629" cy="2718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08284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4199487-4D8F-48F0-B82F-794AB69CEF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/>
              <a:t>Amazon Alexa Skills Kit: </a:t>
            </a:r>
            <a:r>
              <a:rPr lang="en-US" dirty="0">
                <a:hlinkClick r:id="rId2"/>
              </a:rPr>
              <a:t>https://developer.amazon.com/alexa-skills-kit</a:t>
            </a:r>
            <a:r>
              <a:rPr lang="en-US" dirty="0"/>
              <a:t> </a:t>
            </a:r>
          </a:p>
          <a:p>
            <a:endParaRPr lang="en-US" dirty="0"/>
          </a:p>
          <a:p>
            <a:r>
              <a:rPr lang="en-US" dirty="0"/>
              <a:t>Amazon step-by-step guide to building a skill: </a:t>
            </a:r>
            <a:r>
              <a:rPr lang="en-US" dirty="0">
                <a:hlinkClick r:id="rId3"/>
              </a:rPr>
              <a:t>https://developer.amazon.com/public/solutions/alexa/alexa-skills-kit/content/fact-skill-1</a:t>
            </a:r>
            <a:r>
              <a:rPr lang="en-US" dirty="0"/>
              <a:t> </a:t>
            </a:r>
          </a:p>
          <a:p>
            <a:endParaRPr lang="en-US" dirty="0"/>
          </a:p>
          <a:p>
            <a:r>
              <a:rPr lang="en-US" dirty="0"/>
              <a:t>External developer community: amazonalexa.slack.com</a:t>
            </a:r>
          </a:p>
          <a:p>
            <a:endParaRPr lang="en-US" dirty="0"/>
          </a:p>
          <a:p>
            <a:r>
              <a:rPr lang="en-US" dirty="0"/>
              <a:t>Dashbot documentation: </a:t>
            </a:r>
            <a:r>
              <a:rPr lang="en-US" dirty="0">
                <a:hlinkClick r:id="rId4"/>
              </a:rPr>
              <a:t>https://www.dashbot.io/docs/alexa/lambda</a:t>
            </a:r>
            <a:r>
              <a:rPr lang="en-US" dirty="0"/>
              <a:t> </a:t>
            </a:r>
          </a:p>
          <a:p>
            <a:endParaRPr lang="en-US" dirty="0"/>
          </a:p>
          <a:p>
            <a:r>
              <a:rPr lang="en-US" dirty="0"/>
              <a:t>Amazon source code samples</a:t>
            </a:r>
          </a:p>
          <a:p>
            <a:pPr lvl="1"/>
            <a:r>
              <a:rPr lang="en-US" dirty="0"/>
              <a:t>Node.js: </a:t>
            </a:r>
            <a:r>
              <a:rPr lang="en-US" dirty="0">
                <a:hlinkClick r:id="rId5"/>
              </a:rPr>
              <a:t>https://github.com/amzn/alexa-skills-kit-js</a:t>
            </a:r>
            <a:r>
              <a:rPr lang="en-US" dirty="0"/>
              <a:t> </a:t>
            </a:r>
          </a:p>
          <a:p>
            <a:pPr lvl="1"/>
            <a:r>
              <a:rPr lang="en-US" dirty="0"/>
              <a:t>Java: </a:t>
            </a:r>
            <a:r>
              <a:rPr lang="en-US" dirty="0">
                <a:hlinkClick r:id="rId6"/>
              </a:rPr>
              <a:t>https://github.com/amzn/alexa-skills-kit-java</a:t>
            </a:r>
            <a:r>
              <a:rPr lang="en-US" dirty="0"/>
              <a:t>  </a:t>
            </a: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EEA67D8-0022-4A76-AE45-2408D0D68B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E13FE8-603E-49A0-8A63-EB88A885C7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5EBCFF-FBEE-4AAD-827A-F53A2AB3BB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03980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B18DD42-5C67-4670-A2EC-39D28C724BA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/>
              <a:t>Assumed Development Knowledge</a:t>
            </a:r>
          </a:p>
          <a:p>
            <a:pPr lvl="1"/>
            <a:r>
              <a:rPr lang="en-US" dirty="0"/>
              <a:t>You do NOT need any language-specific or cloud-specific knowledge (we will be writing an AWS Lambda function in node.js but not using advanced concepts)</a:t>
            </a:r>
          </a:p>
          <a:p>
            <a:pPr lvl="1"/>
            <a:r>
              <a:rPr lang="en-US" dirty="0"/>
              <a:t>You are expected to understand basic programming concepts like variables, functions, and objects</a:t>
            </a:r>
          </a:p>
          <a:p>
            <a:endParaRPr lang="en-US" dirty="0"/>
          </a:p>
          <a:p>
            <a:r>
              <a:rPr lang="en-US" dirty="0"/>
              <a:t>Sign up for a free AWS developer account</a:t>
            </a:r>
          </a:p>
          <a:p>
            <a:pPr lvl="1"/>
            <a:r>
              <a:rPr lang="en-US" dirty="0"/>
              <a:t>AWS Management Console: https://aws.amazon.com/console</a:t>
            </a:r>
          </a:p>
          <a:p>
            <a:pPr lvl="1"/>
            <a:r>
              <a:rPr lang="en-US" dirty="0"/>
              <a:t>Amazon Developer Portal: https://developer.amazon.com </a:t>
            </a:r>
          </a:p>
          <a:p>
            <a:pPr lvl="1"/>
            <a:r>
              <a:rPr lang="en-US" dirty="0"/>
              <a:t>You need to provide a credit card, but 1 million Lambda requests per month free ($0.20 per million after that); more than enough for development</a:t>
            </a:r>
          </a:p>
          <a:p>
            <a:pPr lvl="1"/>
            <a:endParaRPr lang="en-US" dirty="0"/>
          </a:p>
          <a:p>
            <a:r>
              <a:rPr lang="en-US" dirty="0"/>
              <a:t>Sign up for a free account at Dashbot (www.dashbot.io)</a:t>
            </a: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C4B363B-F466-469C-ADF9-10525B4D6C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urse Prerequisit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3BC395-0013-41B5-9EC1-5224C4936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5EBCFF-FBEE-4AAD-827A-F53A2AB3BB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03919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5C71751-8F9D-46C9-AEB8-FE0B0B228A09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3379094" y="1237232"/>
            <a:ext cx="590302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“Alexa, tell the class what we will learn today”</a:t>
            </a:r>
          </a:p>
        </p:txBody>
      </p:sp>
      <p:cxnSp>
        <p:nvCxnSpPr>
          <p:cNvPr id="8" name="Straight Connector 7"/>
          <p:cNvCxnSpPr>
            <a:cxnSpLocks/>
          </p:cNvCxnSpPr>
          <p:nvPr/>
        </p:nvCxnSpPr>
        <p:spPr>
          <a:xfrm>
            <a:off x="3513445" y="1606564"/>
            <a:ext cx="701716" cy="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>
            <a:cxnSpLocks/>
            <a:stCxn id="12" idx="0"/>
          </p:cNvCxnSpPr>
          <p:nvPr/>
        </p:nvCxnSpPr>
        <p:spPr>
          <a:xfrm flipV="1">
            <a:off x="2626408" y="1606568"/>
            <a:ext cx="1176748" cy="18448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1449659" y="3451454"/>
            <a:ext cx="235349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FF0000"/>
                </a:solidFill>
              </a:rPr>
              <a:t>Wake word </a:t>
            </a:r>
            <a:r>
              <a:rPr lang="en-US" sz="2000" dirty="0"/>
              <a:t>to start the conversation</a:t>
            </a:r>
          </a:p>
        </p:txBody>
      </p:sp>
      <p:cxnSp>
        <p:nvCxnSpPr>
          <p:cNvPr id="13" name="Straight Connector 12"/>
          <p:cNvCxnSpPr>
            <a:cxnSpLocks/>
          </p:cNvCxnSpPr>
          <p:nvPr/>
        </p:nvCxnSpPr>
        <p:spPr>
          <a:xfrm>
            <a:off x="4405209" y="1619894"/>
            <a:ext cx="367513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H="1" flipV="1">
            <a:off x="4583693" y="1626942"/>
            <a:ext cx="41438" cy="309931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3721725" y="4711566"/>
            <a:ext cx="196539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FF0000"/>
                </a:solidFill>
              </a:rPr>
              <a:t>Keyword</a:t>
            </a:r>
            <a:r>
              <a:rPr lang="en-US" sz="2000" dirty="0">
                <a:solidFill>
                  <a:srgbClr val="FF0000"/>
                </a:solidFill>
              </a:rPr>
              <a:t> </a:t>
            </a:r>
            <a:r>
              <a:rPr lang="en-US" sz="2000" dirty="0"/>
              <a:t>to request a service</a:t>
            </a:r>
          </a:p>
        </p:txBody>
      </p:sp>
      <p:cxnSp>
        <p:nvCxnSpPr>
          <p:cNvPr id="18" name="Straight Connector 17"/>
          <p:cNvCxnSpPr>
            <a:cxnSpLocks/>
          </p:cNvCxnSpPr>
          <p:nvPr/>
        </p:nvCxnSpPr>
        <p:spPr>
          <a:xfrm>
            <a:off x="4882771" y="1612250"/>
            <a:ext cx="1027376" cy="1528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5083904" y="1642827"/>
            <a:ext cx="1100312" cy="152813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5274528" y="3205642"/>
            <a:ext cx="235290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FF0000"/>
                </a:solidFill>
              </a:rPr>
              <a:t>Invocation name </a:t>
            </a:r>
            <a:r>
              <a:rPr lang="en-US" sz="2000" dirty="0"/>
              <a:t>that identifies a skill</a:t>
            </a:r>
          </a:p>
        </p:txBody>
      </p:sp>
      <p:cxnSp>
        <p:nvCxnSpPr>
          <p:cNvPr id="24" name="Straight Connector 23"/>
          <p:cNvCxnSpPr>
            <a:cxnSpLocks/>
          </p:cNvCxnSpPr>
          <p:nvPr/>
        </p:nvCxnSpPr>
        <p:spPr>
          <a:xfrm>
            <a:off x="5988341" y="1631677"/>
            <a:ext cx="3094947" cy="6416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>
            <a:cxnSpLocks/>
          </p:cNvCxnSpPr>
          <p:nvPr/>
        </p:nvCxnSpPr>
        <p:spPr>
          <a:xfrm flipH="1" flipV="1">
            <a:off x="7355787" y="1674071"/>
            <a:ext cx="473054" cy="96106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7828838" y="2635137"/>
            <a:ext cx="272021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Specific </a:t>
            </a:r>
            <a:r>
              <a:rPr lang="en-US" sz="2000" b="1" dirty="0">
                <a:solidFill>
                  <a:srgbClr val="FF0000"/>
                </a:solidFill>
              </a:rPr>
              <a:t>request</a:t>
            </a:r>
            <a:r>
              <a:rPr lang="en-US" sz="2000" dirty="0"/>
              <a:t>, question, or command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A79DCC6-4EFC-4D88-9195-B8911646BB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ide an Alexa Request</a:t>
            </a:r>
          </a:p>
        </p:txBody>
      </p:sp>
    </p:spTree>
    <p:extLst>
      <p:ext uri="{BB962C8B-B14F-4D97-AF65-F5344CB8AC3E}">
        <p14:creationId xmlns:p14="http://schemas.microsoft.com/office/powerpoint/2010/main" val="36349041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0410" y="1460810"/>
            <a:ext cx="5397190" cy="5397190"/>
          </a:xfrm>
          <a:prstGeom prst="rect">
            <a:avLst/>
          </a:prstGeom>
        </p:spPr>
      </p:pic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5C71751-8F9D-46C9-AEB8-FE0B0B228A0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CF8ED7B-F68D-43F0-ABC1-6921EDFD3D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ide an Alexa Reques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0D8D14-535F-4AEB-8A96-D1482E1DBDC6}"/>
              </a:ext>
            </a:extLst>
          </p:cNvPr>
          <p:cNvSpPr txBox="1"/>
          <p:nvPr/>
        </p:nvSpPr>
        <p:spPr>
          <a:xfrm>
            <a:off x="3379094" y="1237232"/>
            <a:ext cx="590302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“Alexa, tell the class what we will learn today”</a:t>
            </a:r>
          </a:p>
        </p:txBody>
      </p:sp>
    </p:spTree>
    <p:extLst>
      <p:ext uri="{BB962C8B-B14F-4D97-AF65-F5344CB8AC3E}">
        <p14:creationId xmlns:p14="http://schemas.microsoft.com/office/powerpoint/2010/main" val="34360814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5C71751-8F9D-46C9-AEB8-FE0B0B228A0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011"/>
          <a:stretch/>
        </p:blipFill>
        <p:spPr>
          <a:xfrm>
            <a:off x="8408020" y="1200044"/>
            <a:ext cx="1381484" cy="493581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14857" y="2301626"/>
            <a:ext cx="1657143" cy="866667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0546819F-F181-4578-B617-7885DEC0E1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mbda Functions</a:t>
            </a:r>
          </a:p>
        </p:txBody>
      </p:sp>
      <p:sp>
        <p:nvSpPr>
          <p:cNvPr id="9" name="Content Placeholder 1">
            <a:extLst>
              <a:ext uri="{FF2B5EF4-FFF2-40B4-BE49-F238E27FC236}">
                <a16:creationId xmlns:a16="http://schemas.microsoft.com/office/drawing/2014/main" id="{32AC059B-9FC3-4E53-817D-3C1158BEE9EC}"/>
              </a:ext>
            </a:extLst>
          </p:cNvPr>
          <p:cNvSpPr txBox="1">
            <a:spLocks/>
          </p:cNvSpPr>
          <p:nvPr/>
        </p:nvSpPr>
        <p:spPr>
          <a:xfrm>
            <a:off x="275063" y="1101964"/>
            <a:ext cx="8132957" cy="4724400"/>
          </a:xfrm>
          <a:prstGeom prst="rect">
            <a:avLst/>
          </a:prstGeom>
        </p:spPr>
        <p:txBody>
          <a:bodyPr vert="horz" lIns="91440" tIns="45720" rIns="91440" bIns="45720" rtlCol="0">
            <a:normAutofit fontScale="775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5813" indent="-227013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Run code without managing servers – you write code that responds to triggers</a:t>
            </a:r>
          </a:p>
          <a:p>
            <a:endParaRPr lang="en-US" dirty="0"/>
          </a:p>
          <a:p>
            <a:r>
              <a:rPr lang="en-US" dirty="0"/>
              <a:t>Used for tasks like processing file uploads (transforming flat files to structured content) and stream processing</a:t>
            </a:r>
          </a:p>
          <a:p>
            <a:endParaRPr lang="en-US" dirty="0"/>
          </a:p>
          <a:p>
            <a:r>
              <a:rPr lang="en-US" dirty="0"/>
              <a:t>Alexa can be a trigger that launches your code after a customer speaks your invocation name</a:t>
            </a:r>
          </a:p>
          <a:p>
            <a:pPr lvl="1"/>
            <a:r>
              <a:rPr lang="en-US" dirty="0"/>
              <a:t>No need to create a service</a:t>
            </a:r>
          </a:p>
          <a:p>
            <a:pPr lvl="1"/>
            <a:r>
              <a:rPr lang="en-US" dirty="0"/>
              <a:t>No need to process natural language speech</a:t>
            </a:r>
          </a:p>
          <a:p>
            <a:pPr lvl="1"/>
            <a:r>
              <a:rPr lang="en-US" dirty="0"/>
              <a:t>Your function takes a JSON object as input and returns a JSON object defined by Alexa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21150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515" y="2883338"/>
            <a:ext cx="9800578" cy="361959"/>
          </a:xfrm>
        </p:spPr>
        <p:txBody>
          <a:bodyPr>
            <a:noAutofit/>
          </a:bodyPr>
          <a:lstStyle/>
          <a:p>
            <a:r>
              <a:rPr lang="en-US" sz="4000" b="1" dirty="0"/>
              <a:t>Hello World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5C71751-8F9D-46C9-AEB8-FE0B0B228A0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62791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5C71751-8F9D-46C9-AEB8-FE0B0B228A09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323CFA2-B2A6-41A8-ADBB-80B9CB6DF4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nt Slot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7E084AD-2D45-454E-885A-575BCC06EB6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 marL="274320" indent="-274320"/>
            <a:r>
              <a:rPr lang="en-US" dirty="0">
                <a:solidFill>
                  <a:schemeClr val="tx1"/>
                </a:solidFill>
              </a:rPr>
              <a:t>Provides a way to pass parameters in with your intents</a:t>
            </a:r>
          </a:p>
          <a:p>
            <a:pPr marL="274320" indent="-274320"/>
            <a:endParaRPr lang="en-US" dirty="0">
              <a:solidFill>
                <a:schemeClr val="tx1"/>
              </a:solidFill>
            </a:endParaRPr>
          </a:p>
          <a:p>
            <a:pPr marL="274320" indent="-274320"/>
            <a:r>
              <a:rPr lang="en-US" dirty="0">
                <a:solidFill>
                  <a:schemeClr val="tx1"/>
                </a:solidFill>
              </a:rPr>
              <a:t>Can use one of the pre-defined slot types defined at </a:t>
            </a:r>
            <a:r>
              <a:rPr lang="en-US" dirty="0">
                <a:solidFill>
                  <a:schemeClr val="tx1"/>
                </a:solidFill>
                <a:hlinkClick r:id="rId3"/>
              </a:rPr>
              <a:t>https://developer.amazon.com/public/solutions/alexa/alexa-skills-kit/docs/built-in-intent-ref/slot-type-reference</a:t>
            </a:r>
            <a:endParaRPr lang="en-US" dirty="0">
              <a:solidFill>
                <a:schemeClr val="tx1"/>
              </a:solidFill>
            </a:endParaRPr>
          </a:p>
          <a:p>
            <a:pPr marL="274320" indent="-274320"/>
            <a:endParaRPr lang="en-US" dirty="0">
              <a:solidFill>
                <a:schemeClr val="tx1"/>
              </a:solidFill>
            </a:endParaRPr>
          </a:p>
          <a:p>
            <a:pPr marL="274320" indent="-274320"/>
            <a:r>
              <a:rPr lang="en-US" dirty="0">
                <a:solidFill>
                  <a:schemeClr val="tx1"/>
                </a:solidFill>
              </a:rPr>
              <a:t>Or can create a Custom Slot Type, in which case you provide an enumerated list of possible values (we will not be covering this in this workshop)</a:t>
            </a:r>
          </a:p>
          <a:p>
            <a:pPr marL="274320" indent="-274320"/>
            <a:endParaRPr lang="en-US" dirty="0">
              <a:solidFill>
                <a:schemeClr val="tx1"/>
              </a:solidFill>
            </a:endParaRPr>
          </a:p>
          <a:p>
            <a:pPr marL="274320" indent="-274320"/>
            <a:r>
              <a:rPr lang="en-US" dirty="0">
                <a:solidFill>
                  <a:schemeClr val="tx1"/>
                </a:solidFill>
              </a:rPr>
              <a:t>Let’s add to Hello World to optionally take in the name of a person, and use that person’s name in our respons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79445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5C71751-8F9D-46C9-AEB8-FE0B0B228A09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49053CA-6ACF-4A88-9C8C-852FBF5543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ssion Attribute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D2D4094A-CDFB-47D3-AEA6-A3B0A77345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923544"/>
            <a:ext cx="10972800" cy="4724400"/>
          </a:xfrm>
        </p:spPr>
        <p:txBody>
          <a:bodyPr>
            <a:normAutofit fontScale="85000" lnSpcReduction="10000"/>
          </a:bodyPr>
          <a:lstStyle/>
          <a:p>
            <a:pPr marL="274320" indent="-274320"/>
            <a:r>
              <a:rPr lang="en-US" dirty="0">
                <a:solidFill>
                  <a:schemeClr val="tx1"/>
                </a:solidFill>
              </a:rPr>
              <a:t>Provides a way to preserve data between calls when the session stays open</a:t>
            </a:r>
          </a:p>
          <a:p>
            <a:pPr marL="274320" indent="-274320"/>
            <a:endParaRPr lang="en-US" dirty="0">
              <a:solidFill>
                <a:schemeClr val="tx1"/>
              </a:solidFill>
            </a:endParaRPr>
          </a:p>
          <a:p>
            <a:pPr marL="274320" indent="-274320"/>
            <a:r>
              <a:rPr lang="en-US" dirty="0">
                <a:solidFill>
                  <a:schemeClr val="tx1"/>
                </a:solidFill>
              </a:rPr>
              <a:t>Set </a:t>
            </a:r>
            <a:r>
              <a:rPr lang="en-US" dirty="0" err="1">
                <a:solidFill>
                  <a:schemeClr val="tx1"/>
                </a:solidFill>
              </a:rPr>
              <a:t>alexaResponse.sessionAttributes</a:t>
            </a:r>
            <a:r>
              <a:rPr lang="en-US" dirty="0">
                <a:solidFill>
                  <a:schemeClr val="tx1"/>
                </a:solidFill>
              </a:rPr>
              <a:t> to custom-defined attributes</a:t>
            </a:r>
          </a:p>
          <a:p>
            <a:pPr marL="274320" indent="-274320"/>
            <a:endParaRPr lang="en-US" dirty="0">
              <a:solidFill>
                <a:schemeClr val="tx1"/>
              </a:solidFill>
            </a:endParaRPr>
          </a:p>
          <a:p>
            <a:pPr marL="274320" indent="-274320"/>
            <a:r>
              <a:rPr lang="en-US" dirty="0">
                <a:solidFill>
                  <a:schemeClr val="tx1"/>
                </a:solidFill>
              </a:rPr>
              <a:t>Attributes are passed in event object (</a:t>
            </a:r>
            <a:r>
              <a:rPr lang="en-US" dirty="0" err="1">
                <a:solidFill>
                  <a:schemeClr val="tx1"/>
                </a:solidFill>
              </a:rPr>
              <a:t>event.session.attributes</a:t>
            </a:r>
            <a:r>
              <a:rPr lang="en-US" dirty="0">
                <a:solidFill>
                  <a:schemeClr val="tx1"/>
                </a:solidFill>
              </a:rPr>
              <a:t>)</a:t>
            </a:r>
          </a:p>
          <a:p>
            <a:pPr marL="274320" indent="-274320"/>
            <a:endParaRPr lang="en-US" dirty="0">
              <a:solidFill>
                <a:schemeClr val="tx1"/>
              </a:solidFill>
            </a:endParaRPr>
          </a:p>
          <a:p>
            <a:pPr marL="274320" indent="-274320"/>
            <a:r>
              <a:rPr lang="en-US" dirty="0">
                <a:solidFill>
                  <a:schemeClr val="tx1"/>
                </a:solidFill>
              </a:rPr>
              <a:t>Make sure </a:t>
            </a:r>
            <a:r>
              <a:rPr lang="en-US" dirty="0" err="1">
                <a:solidFill>
                  <a:schemeClr val="tx1"/>
                </a:solidFill>
              </a:rPr>
              <a:t>alexaResponse.response.shouldEndSession</a:t>
            </a:r>
            <a:r>
              <a:rPr lang="en-US" dirty="0">
                <a:solidFill>
                  <a:schemeClr val="tx1"/>
                </a:solidFill>
              </a:rPr>
              <a:t> is false</a:t>
            </a:r>
          </a:p>
          <a:p>
            <a:pPr marL="274320" indent="-274320"/>
            <a:endParaRPr lang="en-US" dirty="0">
              <a:solidFill>
                <a:schemeClr val="tx1"/>
              </a:solidFill>
            </a:endParaRPr>
          </a:p>
          <a:p>
            <a:pPr marL="274320" indent="-274320"/>
            <a:r>
              <a:rPr lang="en-US" dirty="0">
                <a:solidFill>
                  <a:schemeClr val="tx1"/>
                </a:solidFill>
              </a:rPr>
              <a:t>Let’s add to Hello World to ask a question and then remember the person’s name when responding to the answe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16876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5C71751-8F9D-46C9-AEB8-FE0B0B228A09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49053CA-6ACF-4A88-9C8C-852FBF5543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und and SSML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D2D4094A-CDFB-47D3-AEA6-A3B0A77345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923544"/>
            <a:ext cx="10972800" cy="4724400"/>
          </a:xfrm>
        </p:spPr>
        <p:txBody>
          <a:bodyPr>
            <a:normAutofit fontScale="85000" lnSpcReduction="20000"/>
          </a:bodyPr>
          <a:lstStyle/>
          <a:p>
            <a:pPr marL="274320" indent="-274320"/>
            <a:r>
              <a:rPr lang="en-US" dirty="0">
                <a:solidFill>
                  <a:schemeClr val="tx1"/>
                </a:solidFill>
              </a:rPr>
              <a:t>Speech Synthesis Markup Language - </a:t>
            </a:r>
            <a:r>
              <a:rPr lang="en-US" dirty="0">
                <a:solidFill>
                  <a:schemeClr val="tx1"/>
                </a:solidFill>
                <a:hlinkClick r:id="rId3"/>
              </a:rPr>
              <a:t>https://developer.amazon.com/docs/custom-skills/speech-synthesis-markup-language-ssml-reference.html</a:t>
            </a:r>
            <a:r>
              <a:rPr lang="en-US" dirty="0">
                <a:solidFill>
                  <a:schemeClr val="tx1"/>
                </a:solidFill>
              </a:rPr>
              <a:t>  </a:t>
            </a:r>
          </a:p>
          <a:p>
            <a:pPr marL="274320" indent="-274320"/>
            <a:endParaRPr lang="en-US" dirty="0">
              <a:solidFill>
                <a:schemeClr val="tx1"/>
              </a:solidFill>
            </a:endParaRPr>
          </a:p>
          <a:p>
            <a:r>
              <a:rPr lang="en-US" dirty="0"/>
              <a:t>Can provide emphasis, pauses, effects, and more!</a:t>
            </a:r>
          </a:p>
          <a:p>
            <a:pPr lvl="1"/>
            <a:endParaRPr lang="en-US" dirty="0"/>
          </a:p>
          <a:p>
            <a:r>
              <a:rPr lang="en-US" dirty="0"/>
              <a:t>Can play custom audio files with audio tag</a:t>
            </a:r>
          </a:p>
          <a:p>
            <a:pPr lvl="1"/>
            <a:r>
              <a:rPr lang="en-US" dirty="0"/>
              <a:t>Built in library from Amazon (</a:t>
            </a:r>
            <a:r>
              <a:rPr lang="en-US" dirty="0">
                <a:hlinkClick r:id="rId4"/>
              </a:rPr>
              <a:t>https://developer.amazon.com/docs/custom-skills/ask-soundlibrary.html</a:t>
            </a:r>
            <a:r>
              <a:rPr lang="en-US" dirty="0"/>
              <a:t>) </a:t>
            </a:r>
          </a:p>
          <a:p>
            <a:pPr lvl="1"/>
            <a:r>
              <a:rPr lang="en-US" dirty="0"/>
              <a:t>Custom files must use MPEG2 codec and 48 kbps bit rate</a:t>
            </a:r>
          </a:p>
          <a:p>
            <a:pPr lvl="1"/>
            <a:r>
              <a:rPr lang="en-US" dirty="0"/>
              <a:t>Audacity (</a:t>
            </a:r>
            <a:r>
              <a:rPr lang="en-US" dirty="0">
                <a:hlinkClick r:id="rId5"/>
              </a:rPr>
              <a:t>http://www.audacityteam.org/</a:t>
            </a:r>
            <a:r>
              <a:rPr lang="en-US" dirty="0"/>
              <a:t>) is a free tool that can convert sound files</a:t>
            </a:r>
          </a:p>
        </p:txBody>
      </p:sp>
    </p:spTree>
    <p:extLst>
      <p:ext uri="{BB962C8B-B14F-4D97-AF65-F5344CB8AC3E}">
        <p14:creationId xmlns:p14="http://schemas.microsoft.com/office/powerpoint/2010/main" val="25436725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CRTheme">
  <a:themeElements>
    <a:clrScheme name="Custom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F57C20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92CDDC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CRTheme">
  <a:themeElements>
    <a:clrScheme name="Custom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F57C20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92CDDC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CRTheme">
  <a:themeElements>
    <a:clrScheme name="Custom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F57C20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92CDDC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119</TotalTime>
  <Words>709</Words>
  <Application>Microsoft Office PowerPoint</Application>
  <PresentationFormat>Widescreen</PresentationFormat>
  <Paragraphs>97</Paragraphs>
  <Slides>14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1" baseType="lpstr">
      <vt:lpstr>Arial</vt:lpstr>
      <vt:lpstr>Calibri</vt:lpstr>
      <vt:lpstr>Kartika</vt:lpstr>
      <vt:lpstr>1_CRTheme</vt:lpstr>
      <vt:lpstr>2_CRTheme</vt:lpstr>
      <vt:lpstr>3_CRTheme</vt:lpstr>
      <vt:lpstr>think-cell Slide</vt:lpstr>
      <vt:lpstr>Coding with Alexa</vt:lpstr>
      <vt:lpstr>Course Prerequisites</vt:lpstr>
      <vt:lpstr>Inside an Alexa Request</vt:lpstr>
      <vt:lpstr>Inside an Alexa Request</vt:lpstr>
      <vt:lpstr>Lambda Functions</vt:lpstr>
      <vt:lpstr>Hello World</vt:lpstr>
      <vt:lpstr>Intent Slots</vt:lpstr>
      <vt:lpstr>Session Attributes</vt:lpstr>
      <vt:lpstr>Sound and SSML</vt:lpstr>
      <vt:lpstr>Alexa SDK</vt:lpstr>
      <vt:lpstr>Analytics with Dashbot</vt:lpstr>
      <vt:lpstr>Brand Expedia Alexa Skill</vt:lpstr>
      <vt:lpstr>Voice User Interface (VUI)</vt:lpstr>
      <vt:lpstr>Resour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kki Zucchetto</dc:creator>
  <cp:lastModifiedBy>Garrett Vargas</cp:lastModifiedBy>
  <cp:revision>230</cp:revision>
  <cp:lastPrinted>2018-01-16T18:33:43Z</cp:lastPrinted>
  <dcterms:created xsi:type="dcterms:W3CDTF">2017-06-27T20:04:24Z</dcterms:created>
  <dcterms:modified xsi:type="dcterms:W3CDTF">2018-03-19T16:08:35Z</dcterms:modified>
</cp:coreProperties>
</file>